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sldIdLst>
    <p:sldId id="356" r:id="rId3"/>
    <p:sldId id="346" r:id="rId4"/>
    <p:sldId id="352" r:id="rId5"/>
    <p:sldId id="354" r:id="rId6"/>
    <p:sldId id="353" r:id="rId7"/>
    <p:sldId id="355" r:id="rId8"/>
    <p:sldId id="327" r:id="rId9"/>
    <p:sldId id="34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038012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8DDEB-FCDC-4DE3-9816-B42919357ACD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5B1416-C76B-4A3D-9529-7F7B5FAB36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1103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9646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6" imgH="403" progId="TCLayout.ActiveDocument.1">
                  <p:embed/>
                </p:oleObj>
              </mc:Choice>
              <mc:Fallback>
                <p:oleObj name="think-cell Slide" r:id="rId5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2967841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40873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72932" y="3500997"/>
            <a:ext cx="9840508" cy="733096"/>
          </a:xfrm>
        </p:spPr>
        <p:txBody>
          <a:bodyPr vert="horz"/>
          <a:lstStyle/>
          <a:p>
            <a:r>
              <a:rPr lang="en-US" dirty="0"/>
              <a:t>Food tests – instructions for pupils</a:t>
            </a:r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23F65-7E45-8786-7AC5-4FED754B50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epare your food samp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65E17C-BE54-644F-576C-8D178C2305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649" y="2529995"/>
            <a:ext cx="7070598" cy="360000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a pestle &amp; mortar to grind the food sample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 a spatula of the food to a boiling tube &amp; label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 8cm</a:t>
            </a:r>
            <a:r>
              <a:rPr lang="en-GB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distilled water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opper the tube &amp; shake well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ce the solution into a water bath for 2 minutes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Font typeface="+mj-lt"/>
              <a:buAutoNum type="arabicParenR"/>
              <a:tabLst>
                <a:tab pos="228600" algn="l"/>
                <a:tab pos="457200" algn="l"/>
              </a:tabLs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ol &amp; allow to settle in a test tube rack</a:t>
            </a:r>
          </a:p>
          <a:p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C4C039F-B51A-4044-4589-A13089988B6D}"/>
              </a:ext>
            </a:extLst>
          </p:cNvPr>
          <p:cNvSpPr txBox="1">
            <a:spLocks/>
          </p:cNvSpPr>
          <p:nvPr/>
        </p:nvSpPr>
        <p:spPr>
          <a:xfrm>
            <a:off x="7511964" y="3472204"/>
            <a:ext cx="4394286" cy="3146462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000"/>
              </a:spcBef>
              <a:spcAft>
                <a:spcPts val="1200"/>
              </a:spcAft>
              <a:buClrTx/>
              <a:buSzPct val="90000"/>
              <a:buFont typeface="Arial" charset="0"/>
              <a:buNone/>
              <a:tabLst>
                <a:tab pos="228600" algn="l"/>
                <a:tab pos="457200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ce a food sample is prepared, follow the instructions on the sheet.</a:t>
            </a: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000"/>
              </a:spcBef>
              <a:spcAft>
                <a:spcPts val="1200"/>
              </a:spcAft>
              <a:buClrTx/>
              <a:buSzPct val="90000"/>
              <a:buFont typeface="Arial" charset="0"/>
              <a:buNone/>
              <a:tabLst>
                <a:tab pos="228600" algn="l"/>
                <a:tab pos="457200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od and do all four tests. Don’t throw away the food sample after preparing.</a:t>
            </a: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000"/>
              </a:spcBef>
              <a:spcAft>
                <a:spcPts val="1200"/>
              </a:spcAft>
              <a:buClrTx/>
              <a:buSzPct val="90000"/>
              <a:buFont typeface="Arial" charset="0"/>
              <a:buNone/>
              <a:tabLst>
                <a:tab pos="228600" algn="l"/>
                <a:tab pos="457200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n, start again by preparing a second food sample.</a:t>
            </a:r>
          </a:p>
        </p:txBody>
      </p:sp>
      <p:pic>
        <p:nvPicPr>
          <p:cNvPr id="7" name="Picture 6" descr="A picture containing bottle, vessel, indoor, bell jar&#10;&#10;Description automatically generated">
            <a:extLst>
              <a:ext uri="{FF2B5EF4-FFF2-40B4-BE49-F238E27FC236}">
                <a16:creationId xmlns:a16="http://schemas.microsoft.com/office/drawing/2014/main" id="{6E1ED763-71A0-02CE-16F8-7677AE0668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516" t="24880" r="31406" b="8584"/>
          <a:stretch/>
        </p:blipFill>
        <p:spPr>
          <a:xfrm>
            <a:off x="7654247" y="1366688"/>
            <a:ext cx="2323128" cy="1834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44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BB2AF99-1C2A-C217-3878-B6FC1362AAA3}"/>
              </a:ext>
            </a:extLst>
          </p:cNvPr>
          <p:cNvSpPr txBox="1"/>
          <p:nvPr/>
        </p:nvSpPr>
        <p:spPr>
          <a:xfrm>
            <a:off x="598906" y="2577108"/>
            <a:ext cx="671929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lace a small amount of food on the spotting til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Add a few drops of iodine solution to the food on the spotting til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Orange iodine solution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urns blue–black if starch is present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peat steps 1–3 for other types of food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cord all your results in a results table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2B73C33-C8E3-054E-B195-04645E39A7F0}"/>
              </a:ext>
            </a:extLst>
          </p:cNvPr>
          <p:cNvSpPr txBox="1">
            <a:spLocks/>
          </p:cNvSpPr>
          <p:nvPr/>
        </p:nvSpPr>
        <p:spPr>
          <a:xfrm>
            <a:off x="559674" y="1516173"/>
            <a:ext cx="972000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sting for starch</a:t>
            </a:r>
          </a:p>
        </p:txBody>
      </p:sp>
      <p:pic>
        <p:nvPicPr>
          <p:cNvPr id="19" name="Picture 18" descr="Graphical user interface&#10;&#10;Description automatically generated">
            <a:extLst>
              <a:ext uri="{FF2B5EF4-FFF2-40B4-BE49-F238E27FC236}">
                <a16:creationId xmlns:a16="http://schemas.microsoft.com/office/drawing/2014/main" id="{F0635866-9932-CF57-098E-E63EF412AD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1484" y="2155371"/>
            <a:ext cx="6156499" cy="3603172"/>
          </a:xfrm>
          <a:prstGeom prst="rect">
            <a:avLst/>
          </a:prstGeom>
          <a:ln w="25400">
            <a:solidFill>
              <a:srgbClr val="FCC241"/>
            </a:solidFill>
          </a:ln>
        </p:spPr>
      </p:pic>
    </p:spTree>
    <p:extLst>
      <p:ext uri="{BB962C8B-B14F-4D97-AF65-F5344CB8AC3E}">
        <p14:creationId xmlns:p14="http://schemas.microsoft.com/office/powerpoint/2010/main" val="406954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3BD3733-34AA-5EB3-8D01-47EB7F8AD933}"/>
              </a:ext>
            </a:extLst>
          </p:cNvPr>
          <p:cNvSpPr txBox="1"/>
          <p:nvPr/>
        </p:nvSpPr>
        <p:spPr>
          <a:xfrm>
            <a:off x="559674" y="2236173"/>
            <a:ext cx="6415889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lace a small amount of food into a test tub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Add a few drops of ethanol to the test tub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Shake the test tube and leave for one minut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our the solution into a test tube of water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Ethanol added to a solution gives a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oudy white layer if a lipid is present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peat steps 1–5 for other types of food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cord all your results in a results table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A94B057-BB24-9796-9889-410E8A3CC0B0}"/>
              </a:ext>
            </a:extLst>
          </p:cNvPr>
          <p:cNvSpPr txBox="1">
            <a:spLocks/>
          </p:cNvSpPr>
          <p:nvPr/>
        </p:nvSpPr>
        <p:spPr>
          <a:xfrm>
            <a:off x="559674" y="1516173"/>
            <a:ext cx="972000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sting for lipid (fats)</a:t>
            </a: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E4C8145-1C25-7F60-4DCE-4A9FF204B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6475" y="2318657"/>
            <a:ext cx="6370045" cy="3023170"/>
          </a:xfrm>
          <a:prstGeom prst="rect">
            <a:avLst/>
          </a:prstGeom>
          <a:ln w="25400">
            <a:solidFill>
              <a:srgbClr val="FCC241"/>
            </a:solidFill>
          </a:ln>
        </p:spPr>
      </p:pic>
    </p:spTree>
    <p:extLst>
      <p:ext uri="{BB962C8B-B14F-4D97-AF65-F5344CB8AC3E}">
        <p14:creationId xmlns:p14="http://schemas.microsoft.com/office/powerpoint/2010/main" val="2259949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0D57FD1-79E9-EF0D-6B8F-36088D91926E}"/>
              </a:ext>
            </a:extLst>
          </p:cNvPr>
          <p:cNvSpPr txBox="1"/>
          <p:nvPr/>
        </p:nvSpPr>
        <p:spPr>
          <a:xfrm>
            <a:off x="598906" y="2577108"/>
            <a:ext cx="6323132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lace a small amount of food in a test tube.</a:t>
            </a:r>
          </a:p>
          <a:p>
            <a:pPr marL="0" marR="137160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dd 1 cm</a:t>
            </a:r>
            <a:r>
              <a:rPr kumimoji="0" lang="en-GB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 Biuret reagent.</a:t>
            </a:r>
          </a:p>
          <a:p>
            <a:pPr marL="271463" marR="1371600" lvl="0" indent="-2714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lue Biuret reagent turns purple if  protein is present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peat steps 1–3 for other types of food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cord all your results in a results tabl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75F8FFE-61CD-DA37-4089-52457937E617}"/>
              </a:ext>
            </a:extLst>
          </p:cNvPr>
          <p:cNvSpPr txBox="1">
            <a:spLocks/>
          </p:cNvSpPr>
          <p:nvPr/>
        </p:nvSpPr>
        <p:spPr>
          <a:xfrm>
            <a:off x="559674" y="1516173"/>
            <a:ext cx="972000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sting for protein</a:t>
            </a:r>
          </a:p>
        </p:txBody>
      </p:sp>
      <p:pic>
        <p:nvPicPr>
          <p:cNvPr id="29" name="Picture 2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8C15B71-7263-A8BA-EC44-2BEE06416E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4333" y="2028097"/>
            <a:ext cx="6487040" cy="3565221"/>
          </a:xfrm>
          <a:prstGeom prst="rect">
            <a:avLst/>
          </a:prstGeom>
          <a:ln w="25400">
            <a:solidFill>
              <a:srgbClr val="FCC241"/>
            </a:solidFill>
          </a:ln>
        </p:spPr>
      </p:pic>
    </p:spTree>
    <p:extLst>
      <p:ext uri="{BB962C8B-B14F-4D97-AF65-F5344CB8AC3E}">
        <p14:creationId xmlns:p14="http://schemas.microsoft.com/office/powerpoint/2010/main" val="3176619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01A62D3-0F16-5808-4499-00A6109B3B43}"/>
              </a:ext>
            </a:extLst>
          </p:cNvPr>
          <p:cNvSpPr txBox="1"/>
          <p:nvPr/>
        </p:nvSpPr>
        <p:spPr>
          <a:xfrm>
            <a:off x="598906" y="2577108"/>
            <a:ext cx="7161088" cy="374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lace a small amount of food in a test tube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Add enough Benedict’s solution to cover the food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Place the test tube in a warm water bath for 10 minutes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Blue Benedict’s solution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urns brick red on heating if a sugar such as glucose is present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peat steps 1–4 for other types of food.</a:t>
            </a:r>
          </a:p>
          <a:p>
            <a:pPr marL="228600" marR="137160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28600" algn="l"/>
                <a:tab pos="457200" algn="l"/>
                <a:tab pos="685800" algn="l"/>
                <a:tab pos="914400" algn="l"/>
                <a:tab pos="6446520" algn="r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Record all your results in a results table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684BCE4-892D-A3BA-120F-8F26E9DE387B}"/>
              </a:ext>
            </a:extLst>
          </p:cNvPr>
          <p:cNvSpPr txBox="1">
            <a:spLocks/>
          </p:cNvSpPr>
          <p:nvPr/>
        </p:nvSpPr>
        <p:spPr>
          <a:xfrm>
            <a:off x="559674" y="1516173"/>
            <a:ext cx="972000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400" b="1" i="0" u="none" strike="noStrike" kern="1200" cap="none" spc="0" normalizeH="0" baseline="0" noProof="0" dirty="0">
                <a:ln>
                  <a:noFill/>
                </a:ln>
                <a:solidFill>
                  <a:srgbClr val="EF9F3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sting for sugar</a:t>
            </a:r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D4C00E3-193E-33D3-1089-8844688090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577108"/>
            <a:ext cx="6000080" cy="3220180"/>
          </a:xfrm>
          <a:prstGeom prst="rect">
            <a:avLst/>
          </a:prstGeom>
          <a:ln w="25400">
            <a:solidFill>
              <a:srgbClr val="FCC241"/>
            </a:solidFill>
          </a:ln>
        </p:spPr>
      </p:pic>
    </p:spTree>
    <p:extLst>
      <p:ext uri="{BB962C8B-B14F-4D97-AF65-F5344CB8AC3E}">
        <p14:creationId xmlns:p14="http://schemas.microsoft.com/office/powerpoint/2010/main" val="854888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4BF2E-CB26-FDDE-D839-33B90E6137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py out the following tabl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F828356-0935-A29E-A396-94B4CDD02ED6}"/>
              </a:ext>
            </a:extLst>
          </p:cNvPr>
          <p:cNvGraphicFramePr>
            <a:graphicFrameLocks noGrp="1"/>
          </p:cNvGraphicFramePr>
          <p:nvPr/>
        </p:nvGraphicFramePr>
        <p:xfrm>
          <a:off x="512617" y="2188394"/>
          <a:ext cx="11292388" cy="31104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02187">
                  <a:extLst>
                    <a:ext uri="{9D8B030D-6E8A-4147-A177-3AD203B41FA5}">
                      <a16:colId xmlns:a16="http://schemas.microsoft.com/office/drawing/2014/main" val="974917362"/>
                    </a:ext>
                  </a:extLst>
                </a:gridCol>
                <a:gridCol w="2485137">
                  <a:extLst>
                    <a:ext uri="{9D8B030D-6E8A-4147-A177-3AD203B41FA5}">
                      <a16:colId xmlns:a16="http://schemas.microsoft.com/office/drawing/2014/main" val="956370545"/>
                    </a:ext>
                  </a:extLst>
                </a:gridCol>
                <a:gridCol w="2101688">
                  <a:extLst>
                    <a:ext uri="{9D8B030D-6E8A-4147-A177-3AD203B41FA5}">
                      <a16:colId xmlns:a16="http://schemas.microsoft.com/office/drawing/2014/main" val="2868660594"/>
                    </a:ext>
                  </a:extLst>
                </a:gridCol>
                <a:gridCol w="2101688">
                  <a:extLst>
                    <a:ext uri="{9D8B030D-6E8A-4147-A177-3AD203B41FA5}">
                      <a16:colId xmlns:a16="http://schemas.microsoft.com/office/drawing/2014/main" val="4272719026"/>
                    </a:ext>
                  </a:extLst>
                </a:gridCol>
                <a:gridCol w="2101688">
                  <a:extLst>
                    <a:ext uri="{9D8B030D-6E8A-4147-A177-3AD203B41FA5}">
                      <a16:colId xmlns:a16="http://schemas.microsoft.com/office/drawing/2014/main" val="1467076584"/>
                    </a:ext>
                  </a:extLst>
                </a:gridCol>
              </a:tblGrid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od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6B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ch present?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gar present?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tein present?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pid present?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28201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te bread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mpd="sng">
                      <a:noFill/>
                    </a:lnT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723184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cken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638908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ned pineapple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314145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ese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endParaRPr lang="en-GB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766240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ce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endParaRPr lang="en-GB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047450"/>
                  </a:ext>
                </a:extLst>
              </a:tr>
              <a:tr h="444357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shmallow</a:t>
                      </a:r>
                      <a:endParaRPr lang="en-GB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48861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8EB817B-DE8F-D3EE-A09A-AD142828A9D7}"/>
              </a:ext>
            </a:extLst>
          </p:cNvPr>
          <p:cNvSpPr txBox="1"/>
          <p:nvPr/>
        </p:nvSpPr>
        <p:spPr>
          <a:xfrm>
            <a:off x="739739" y="5461824"/>
            <a:ext cx="104438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t the foods that showed a positive result for protein. Describe how you knew this was the cas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t the foods that showed a positive result for lipids. Describe how you knew this was the cas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 the foods that contain sugar also contain starch? Use your results to justify your answer.</a:t>
            </a:r>
          </a:p>
        </p:txBody>
      </p:sp>
    </p:spTree>
    <p:extLst>
      <p:ext uri="{BB962C8B-B14F-4D97-AF65-F5344CB8AC3E}">
        <p14:creationId xmlns:p14="http://schemas.microsoft.com/office/powerpoint/2010/main" val="3082513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4BF2E-CB26-FDDE-D839-33B90E6137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xten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B817B-DE8F-D3EE-A09A-AD142828A9D7}"/>
              </a:ext>
            </a:extLst>
          </p:cNvPr>
          <p:cNvSpPr txBox="1"/>
          <p:nvPr/>
        </p:nvSpPr>
        <p:spPr>
          <a:xfrm>
            <a:off x="651508" y="2283798"/>
            <a:ext cx="106067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student uses Benedict’s solution to test different foods for sugar. Each food is tested under the same conditions and the results are presented in the following tabl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ggest an explanation for these results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2EBB80B-93BF-841F-D5D7-7D165E3BCA49}"/>
              </a:ext>
            </a:extLst>
          </p:cNvPr>
          <p:cNvGraphicFramePr>
            <a:graphicFrameLocks noGrp="1"/>
          </p:cNvGraphicFramePr>
          <p:nvPr/>
        </p:nvGraphicFramePr>
        <p:xfrm>
          <a:off x="3002861" y="3955135"/>
          <a:ext cx="6186278" cy="23209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0311">
                  <a:extLst>
                    <a:ext uri="{9D8B030D-6E8A-4147-A177-3AD203B41FA5}">
                      <a16:colId xmlns:a16="http://schemas.microsoft.com/office/drawing/2014/main" val="3700446669"/>
                    </a:ext>
                  </a:extLst>
                </a:gridCol>
                <a:gridCol w="3905967">
                  <a:extLst>
                    <a:ext uri="{9D8B030D-6E8A-4147-A177-3AD203B41FA5}">
                      <a16:colId xmlns:a16="http://schemas.microsoft.com/office/drawing/2014/main" val="4023103852"/>
                    </a:ext>
                  </a:extLst>
                </a:gridCol>
              </a:tblGrid>
              <a:tr h="994694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od tested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D6B1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l colour of Benedict’s solution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F9F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514655"/>
                  </a:ext>
                </a:extLst>
              </a:tr>
              <a:tr h="331565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en-GB" sz="18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ck red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845418"/>
                  </a:ext>
                </a:extLst>
              </a:tr>
              <a:tr h="331565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GB" sz="18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lue</a:t>
                      </a:r>
                    </a:p>
                  </a:txBody>
                  <a:tcPr marL="68580" marR="68580" marT="0" marB="0"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030249"/>
                  </a:ext>
                </a:extLst>
              </a:tr>
              <a:tr h="331565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en-GB" sz="18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llow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593558"/>
                  </a:ext>
                </a:extLst>
              </a:tr>
              <a:tr h="331565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EF9F3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en</a:t>
                      </a:r>
                      <a:endParaRPr lang="en-GB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FCE3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393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661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ad97cfe-a968-427f-b02b-893e6ba0355a" xsi:nil="true"/>
    <_Flow_SignoffStatus xmlns="c53071f4-7f44-43fd-895c-8e7b6a3746b0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11D7446-6DE4-43E1-9647-9770C7916B76}"/>
</file>

<file path=customXml/itemProps2.xml><?xml version="1.0" encoding="utf-8"?>
<ds:datastoreItem xmlns:ds="http://schemas.openxmlformats.org/officeDocument/2006/customXml" ds:itemID="{0BE50605-E52F-456D-ADC9-AC3E9D892A59}"/>
</file>

<file path=customXml/itemProps3.xml><?xml version="1.0" encoding="utf-8"?>
<ds:datastoreItem xmlns:ds="http://schemas.openxmlformats.org/officeDocument/2006/customXml" ds:itemID="{38117F1E-D4FA-4B03-B313-9891CAF6455C}"/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50</Words>
  <Application>Microsoft Office PowerPoint</Application>
  <PresentationFormat>Widescreen</PresentationFormat>
  <Paragraphs>6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1_Custom Design</vt:lpstr>
      <vt:lpstr>1_Office Theme</vt:lpstr>
      <vt:lpstr>think-cell Slide</vt:lpstr>
      <vt:lpstr>Food tests – instructions for pupils</vt:lpstr>
      <vt:lpstr>Prepare your food sample</vt:lpstr>
      <vt:lpstr>PowerPoint Presentation</vt:lpstr>
      <vt:lpstr>PowerPoint Presentation</vt:lpstr>
      <vt:lpstr>PowerPoint Presentation</vt:lpstr>
      <vt:lpstr>PowerPoint Presentation</vt:lpstr>
      <vt:lpstr>Copy out the following table</vt:lpstr>
      <vt:lpstr>Exten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od tests – instructions for pupils</dc:title>
  <dc:creator>Frances Meek</dc:creator>
  <cp:lastModifiedBy>Frances Meek</cp:lastModifiedBy>
  <cp:revision>1</cp:revision>
  <dcterms:created xsi:type="dcterms:W3CDTF">2022-09-02T17:16:14Z</dcterms:created>
  <dcterms:modified xsi:type="dcterms:W3CDTF">2022-09-02T17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</Properties>
</file>